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4"/>
  </p:sldMasterIdLst>
  <p:notesMasterIdLst>
    <p:notesMasterId r:id="rId16"/>
  </p:notesMasterIdLst>
  <p:handoutMasterIdLst>
    <p:handoutMasterId r:id="rId17"/>
  </p:handoutMasterIdLst>
  <p:sldIdLst>
    <p:sldId id="256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57" r:id="rId15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081" autoAdjust="0"/>
  </p:normalViewPr>
  <p:slideViewPr>
    <p:cSldViewPr snapToGrid="0">
      <p:cViewPr varScale="1">
        <p:scale>
          <a:sx n="111" d="100"/>
          <a:sy n="111" d="100"/>
        </p:scale>
        <p:origin x="59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eph Kevin, (QXZ6BV5)" userId="ced273c2-353a-48c6-aff8-66366e07eee1" providerId="ADAL" clId="{165685DA-C501-4F37-9D2B-91848BC8CF18}"/>
    <pc:docChg chg="addSld modSld">
      <pc:chgData name="Joseph Kevin, (QXZ6BV5)" userId="ced273c2-353a-48c6-aff8-66366e07eee1" providerId="ADAL" clId="{165685DA-C501-4F37-9D2B-91848BC8CF18}" dt="2025-10-14T07:48:02.573" v="0"/>
      <pc:docMkLst>
        <pc:docMk/>
      </pc:docMkLst>
      <pc:sldChg chg="add">
        <pc:chgData name="Joseph Kevin, (QXZ6BV5)" userId="ced273c2-353a-48c6-aff8-66366e07eee1" providerId="ADAL" clId="{165685DA-C501-4F37-9D2B-91848BC8CF18}" dt="2025-10-14T07:48:02.573" v="0"/>
        <pc:sldMkLst>
          <pc:docMk/>
          <pc:sldMk cId="3482443309" sldId="257"/>
        </pc:sldMkLst>
      </pc:sldChg>
      <pc:sldChg chg="add">
        <pc:chgData name="Joseph Kevin, (QXZ6BV5)" userId="ced273c2-353a-48c6-aff8-66366e07eee1" providerId="ADAL" clId="{165685DA-C501-4F37-9D2B-91848BC8CF18}" dt="2025-10-14T07:48:02.573" v="0"/>
        <pc:sldMkLst>
          <pc:docMk/>
          <pc:sldMk cId="3807455272" sldId="26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4.10.2025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4.10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D42D1FA-E8D9-4B13-727E-AB675C71905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36387" y="6611620"/>
            <a:ext cx="947738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200">
                <a:solidFill>
                  <a:srgbClr val="C00000">
                    <a:alpha val="50000"/>
                  </a:srgbClr>
                </a:solidFill>
                <a:latin typeface="BMW Group Condensed" panose="020B0606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84A6E31-E480-13B7-A171-C1D6E81FD1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00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A7FDC9-8082-1BB6-D7E2-4A9EE848C6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39"/>
            <a:ext cx="12192000" cy="685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455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164B39-0385-D527-FCEA-A1DF3EF201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4433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19ABE7-9ED3-B074-9A2C-0FEC2C528E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19"/>
            <a:ext cx="12192000" cy="6854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7830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EA7FD95-7B22-3AF4-5CB9-1A5EFA2B8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39"/>
            <a:ext cx="12192000" cy="685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13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AB25EBF-0113-2441-DEEC-383536CD3E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5" y="0"/>
            <a:ext cx="121893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4787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C0199-C71F-8139-51C4-2614BBDD1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8770ED-887C-DF04-9367-DA5DDB921C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0707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0195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42B095-1740-F57A-AB4D-C641BC0B3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564981-0DE5-3D51-8E4A-7866BAAEA7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773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2758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B31414-1579-3AFB-E109-0373B48AB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E08FA1-4774-244F-541A-436090F44D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95"/>
            <a:ext cx="12192000" cy="685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880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3D6050-7C49-9EB7-B2CC-6561DAB46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E954E4-BF1A-9430-C092-A3C51B5032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95"/>
            <a:ext cx="12192000" cy="685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1521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AB828-341A-344D-F7C6-7C5412521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436175-2B97-A16A-2966-D26B5B57BD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273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176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lank.potx" id="{8F661DFC-580C-48F5-BBFC-5A9E3586134E}" vid="{782F7151-C61B-4C74-B48C-8E500CBD2C0C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9993A762392440B9D7FE02FB1F1C7C" ma:contentTypeVersion="16" ma:contentTypeDescription="Ein neues Dokument erstellen." ma:contentTypeScope="" ma:versionID="ed77a446ac7d60fe5a69fa4d73ba1b77">
  <xsd:schema xmlns:xsd="http://www.w3.org/2001/XMLSchema" xmlns:xs="http://www.w3.org/2001/XMLSchema" xmlns:p="http://schemas.microsoft.com/office/2006/metadata/properties" xmlns:ns3="46efc58d-653a-435a-a55c-60d45d002427" xmlns:ns4="3b59e19a-dcf5-4e1f-af4e-97f1615661ef" targetNamespace="http://schemas.microsoft.com/office/2006/metadata/properties" ma:root="true" ma:fieldsID="b74ede8119b22f6c97fe5b2520984cd4" ns3:_="" ns4:_="">
    <xsd:import namespace="46efc58d-653a-435a-a55c-60d45d002427"/>
    <xsd:import namespace="3b59e19a-dcf5-4e1f-af4e-97f1615661e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Locatio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efc58d-653a-435a-a55c-60d45d0024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59e19a-dcf5-4e1f-af4e-97f1615661e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6efc58d-653a-435a-a55c-60d45d002427" xsi:nil="true"/>
  </documentManagement>
</p:properties>
</file>

<file path=customXml/itemProps1.xml><?xml version="1.0" encoding="utf-8"?>
<ds:datastoreItem xmlns:ds="http://schemas.openxmlformats.org/officeDocument/2006/customXml" ds:itemID="{3CD519ED-7C02-4C6F-ADF5-8A862159DB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6efc58d-653a-435a-a55c-60d45d002427"/>
    <ds:schemaRef ds:uri="3b59e19a-dcf5-4e1f-af4e-97f1615661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F058727-59DB-4643-ABA9-B264DCEFDF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CFCD65-5E41-44CF-873A-DAEC5C00A6EC}">
  <ds:schemaRefs>
    <ds:schemaRef ds:uri="http://purl.org/dc/terms/"/>
    <ds:schemaRef ds:uri="3b59e19a-dcf5-4e1f-af4e-97f1615661ef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46efc58d-653a-435a-a55c-60d45d002427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e6935750-240b-48e4-a615-66942a738439}" enabled="1" method="Standard" siteId="{ce849bab-cc1c-465b-b62e-18f07c9ac1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0</Words>
  <Application>Microsoft Office PowerPoint</Application>
  <PresentationFormat>Widescreen</PresentationFormat>
  <Paragraphs>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BMW Group Condensed</vt:lpstr>
      <vt:lpstr>BMWGroupTN Condensed</vt:lpstr>
      <vt:lpstr>Wingdings</vt:lpstr>
      <vt:lpstr>BMW Group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oseph Kevin, (QXZ6BV5)</dc:creator>
  <cp:lastModifiedBy>Joseph Kevin, (QXZ6BV5)</cp:lastModifiedBy>
  <cp:revision>1</cp:revision>
  <dcterms:created xsi:type="dcterms:W3CDTF">2025-10-13T05:47:38Z</dcterms:created>
  <dcterms:modified xsi:type="dcterms:W3CDTF">2025-10-15T02:3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9993A762392440B9D7FE02FB1F1C7C</vt:lpwstr>
  </property>
  <property fmtid="{D5CDD505-2E9C-101B-9397-08002B2CF9AE}" pid="3" name="MSIP_Label_e6935750-240b-48e4-a615-66942a738439_Enabled">
    <vt:lpwstr>true</vt:lpwstr>
  </property>
  <property fmtid="{D5CDD505-2E9C-101B-9397-08002B2CF9AE}" pid="4" name="MSIP_Label_e6935750-240b-48e4-a615-66942a738439_SetDate">
    <vt:lpwstr>2025-08-04T07:35:46Z</vt:lpwstr>
  </property>
  <property fmtid="{D5CDD505-2E9C-101B-9397-08002B2CF9AE}" pid="5" name="MSIP_Label_e6935750-240b-48e4-a615-66942a738439_Method">
    <vt:lpwstr>Standard</vt:lpwstr>
  </property>
  <property fmtid="{D5CDD505-2E9C-101B-9397-08002B2CF9AE}" pid="6" name="MSIP_Label_e6935750-240b-48e4-a615-66942a738439_Name">
    <vt:lpwstr>e6935750-240b-48e4-a615-66942a738439</vt:lpwstr>
  </property>
  <property fmtid="{D5CDD505-2E9C-101B-9397-08002B2CF9AE}" pid="7" name="MSIP_Label_e6935750-240b-48e4-a615-66942a738439_SiteId">
    <vt:lpwstr>ce849bab-cc1c-465b-b62e-18f07c9ac198</vt:lpwstr>
  </property>
  <property fmtid="{D5CDD505-2E9C-101B-9397-08002B2CF9AE}" pid="8" name="MSIP_Label_e6935750-240b-48e4-a615-66942a738439_ActionId">
    <vt:lpwstr>825cc886-d864-4ebd-8fa8-13049a8131e7</vt:lpwstr>
  </property>
  <property fmtid="{D5CDD505-2E9C-101B-9397-08002B2CF9AE}" pid="9" name="MSIP_Label_e6935750-240b-48e4-a615-66942a738439_ContentBits">
    <vt:lpwstr>2</vt:lpwstr>
  </property>
  <property fmtid="{D5CDD505-2E9C-101B-9397-08002B2CF9AE}" pid="10" name="MSIP_Label_e6935750-240b-48e4-a615-66942a738439_Tag">
    <vt:lpwstr>10, 3, 0, 1</vt:lpwstr>
  </property>
  <property fmtid="{D5CDD505-2E9C-101B-9397-08002B2CF9AE}" pid="11" name="ClassificationContentMarkingFooterLocations">
    <vt:lpwstr>BMW Group 2021:4</vt:lpwstr>
  </property>
  <property fmtid="{D5CDD505-2E9C-101B-9397-08002B2CF9AE}" pid="12" name="ClassificationContentMarkingFooterText">
    <vt:lpwstr>CONFIDENTIAL</vt:lpwstr>
  </property>
</Properties>
</file>